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5B75E-6003-14D9-2309-08DA2E6A9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8D56CF4-A5E1-1B47-2988-F6C2D839BA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56CF4-A5E1-1B47-2988-F6C2D839B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446F5E-CBFC-9BA0-2F22-4356C8EE3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E408B4-CD84-5E5D-FEED-28F9462F7EC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A6F10947-9089-4D24-37D3-E4967244AF08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AB118061-6C40-820F-4C47-951DDCE88D76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41D92382-DAFF-08ED-6609-6575F9726A2B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6494BF61-75D6-4DEA-2534-9707646DF383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E4A3EDF5-2434-7DB0-9EFA-A238563946C4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21CE58BD-9394-AF2A-E9F9-797638599D6D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85DE75F3-DD88-62E3-3E4A-6C393EBB5AC7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C4783247-A452-F42D-3252-A87BAB66F089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3599640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6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32</cp:revision>
  <dcterms:created xsi:type="dcterms:W3CDTF">2021-03-31T02:49:57Z</dcterms:created>
  <dcterms:modified xsi:type="dcterms:W3CDTF">2025-10-16T10:47:51Z</dcterms:modified>
  <cp:category/>
</cp:coreProperties>
</file>